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50" d="100"/>
          <a:sy n="50" d="100"/>
        </p:scale>
        <p:origin x="-3444" y="-13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E6588-E581-4D8E-9DFB-0B7DC585CED2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77E77-0AAE-47DC-A30C-1E3881173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397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4582A-9F52-4A38-877F-F0B4601B8E20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A066D-53FF-4080-A939-6F0E4814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311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EB0426B-97E2-417F-86CC-B1CAF40C0B29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00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48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08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94038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89" y="234950"/>
            <a:ext cx="6542940" cy="6794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5" y="1295400"/>
            <a:ext cx="8302869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2480" y="2348880"/>
            <a:ext cx="251520" cy="3672408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 rot="16200000">
            <a:off x="5231142" y="4398346"/>
            <a:ext cx="404664" cy="4514644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6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71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64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63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4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469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6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4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0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1870896" y="358914"/>
            <a:ext cx="559670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EEK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10</a:t>
            </a:r>
            <a:r>
              <a:rPr lang="en-US" sz="1600" b="1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endParaRPr lang="en-US" sz="1600" b="1" dirty="0">
              <a:solidFill>
                <a:srgbClr val="9F0F10"/>
              </a:solidFill>
              <a:effectLst>
                <a:outerShdw blurRad="38100" dist="38100" dir="2700000" algn="tl">
                  <a:srgbClr val="C0C0C0"/>
                </a:outerShdw>
              </a:effectLst>
              <a:cs typeface="+mn-cs"/>
            </a:endParaRP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457200" y="2743200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altLang="en-US" sz="48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entury Schoolbook" pitchFamily="18" charset="0"/>
                <a:cs typeface="Times New Roman" pitchFamily="18" charset="0"/>
              </a:rPr>
              <a:t>PRESENTASI MAHASISWA</a:t>
            </a:r>
            <a:endParaRPr lang="en-US" sz="48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4341" name="Group 12"/>
          <p:cNvGrpSpPr>
            <a:grpSpLocks/>
          </p:cNvGrpSpPr>
          <p:nvPr/>
        </p:nvGrpSpPr>
        <p:grpSpPr bwMode="auto">
          <a:xfrm>
            <a:off x="1676400" y="1905000"/>
            <a:ext cx="5867400" cy="0"/>
            <a:chOff x="768" y="3408"/>
            <a:chExt cx="3696" cy="0"/>
          </a:xfrm>
        </p:grpSpPr>
        <p:sp>
          <p:nvSpPr>
            <p:cNvPr id="14342" name="Line 8"/>
            <p:cNvSpPr>
              <a:spLocks noChangeShapeType="1"/>
            </p:cNvSpPr>
            <p:nvPr/>
          </p:nvSpPr>
          <p:spPr bwMode="auto">
            <a:xfrm>
              <a:off x="768" y="3408"/>
              <a:ext cx="816" cy="0"/>
            </a:xfrm>
            <a:prstGeom prst="line">
              <a:avLst/>
            </a:prstGeom>
            <a:noFill/>
            <a:ln w="127000">
              <a:solidFill>
                <a:srgbClr val="9F0F1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3" name="Line 9"/>
            <p:cNvSpPr>
              <a:spLocks noChangeShapeType="1"/>
            </p:cNvSpPr>
            <p:nvPr/>
          </p:nvSpPr>
          <p:spPr bwMode="auto">
            <a:xfrm>
              <a:off x="1728" y="3408"/>
              <a:ext cx="816" cy="0"/>
            </a:xfrm>
            <a:prstGeom prst="line">
              <a:avLst/>
            </a:prstGeom>
            <a:noFill/>
            <a:ln w="12700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4" name="Line 10"/>
            <p:cNvSpPr>
              <a:spLocks noChangeShapeType="1"/>
            </p:cNvSpPr>
            <p:nvPr/>
          </p:nvSpPr>
          <p:spPr bwMode="auto">
            <a:xfrm>
              <a:off x="2688" y="3408"/>
              <a:ext cx="816" cy="0"/>
            </a:xfrm>
            <a:prstGeom prst="line">
              <a:avLst/>
            </a:prstGeom>
            <a:noFill/>
            <a:ln w="127000">
              <a:solidFill>
                <a:srgbClr val="3399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5" name="Line 11"/>
            <p:cNvSpPr>
              <a:spLocks noChangeShapeType="1"/>
            </p:cNvSpPr>
            <p:nvPr/>
          </p:nvSpPr>
          <p:spPr bwMode="auto">
            <a:xfrm>
              <a:off x="3648" y="3408"/>
              <a:ext cx="816" cy="0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13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0</TotalTime>
  <Words>6</Words>
  <Application>Microsoft Office PowerPoint</Application>
  <PresentationFormat>On-screen Show (4:3)</PresentationFormat>
  <Paragraphs>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1 The Concept of Strategy</dc:title>
  <dc:creator>User</dc:creator>
  <cp:lastModifiedBy>BPISTI2008</cp:lastModifiedBy>
  <cp:revision>107</cp:revision>
  <dcterms:created xsi:type="dcterms:W3CDTF">2013-08-01T03:39:28Z</dcterms:created>
  <dcterms:modified xsi:type="dcterms:W3CDTF">2019-04-29T07:24:07Z</dcterms:modified>
</cp:coreProperties>
</file>